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311" r:id="rId2"/>
    <p:sldId id="340" r:id="rId3"/>
  </p:sldIdLst>
  <p:sldSz cx="9906000" cy="6858000" type="A4"/>
  <p:notesSz cx="6896100" cy="10033000"/>
  <p:custDataLst>
    <p:tags r:id="rId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296" y="-23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22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_agenda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Agenda WKS RoboCap</a:t>
            </a:r>
            <a:endParaRPr lang="en-US" sz="6000" b="1" dirty="0"/>
          </a:p>
        </p:txBody>
      </p:sp>
      <p:pic>
        <p:nvPicPr>
          <p:cNvPr id="75780" name="Picture 4" descr="http://noa-labs.com/wp-content/uploads/2013/01/Logo_Makeblock_400x4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50" y="0"/>
            <a:ext cx="1929600" cy="19296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gend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agenda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od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(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zz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rDA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sonar, czujnik wykrywania linii)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oboty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e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follower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ilniki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dujemy własny czujnik linii (opcjonalnie)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aca w zespołach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Zawody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</Words>
  <Application>Microsoft Office PowerPoint</Application>
  <PresentationFormat>A4 Paper (210x297 mm)</PresentationFormat>
  <Paragraphs>16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Agenda WKS RoboCap</vt:lpstr>
      <vt:lpstr>Agenda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228</cp:revision>
  <dcterms:created xsi:type="dcterms:W3CDTF">2014-10-21T19:55:20Z</dcterms:created>
  <dcterms:modified xsi:type="dcterms:W3CDTF">2015-06-22T10:42:35Z</dcterms:modified>
</cp:coreProperties>
</file>